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4"/>
  </p:notesMasterIdLst>
  <p:handoutMasterIdLst>
    <p:handoutMasterId r:id="rId15"/>
  </p:handoutMasterIdLst>
  <p:sldIdLst>
    <p:sldId id="311" r:id="rId4"/>
    <p:sldId id="340" r:id="rId5"/>
    <p:sldId id="366" r:id="rId6"/>
    <p:sldId id="368" r:id="rId7"/>
    <p:sldId id="367" r:id="rId8"/>
    <p:sldId id="369" r:id="rId9"/>
    <p:sldId id="370" r:id="rId10"/>
    <p:sldId id="371" r:id="rId11"/>
    <p:sldId id="329" r:id="rId12"/>
    <p:sldId id="349" r:id="rId13"/>
  </p:sldIdLst>
  <p:sldSz cx="9906000" cy="6858000" type="A4"/>
  <p:notesSz cx="6896100" cy="1003300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109" d="100"/>
          <a:sy n="109" d="100"/>
        </p:scale>
        <p:origin x="-1674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1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1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0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4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3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6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5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1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39345" y="4365130"/>
            <a:ext cx="1838325" cy="18288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pl-PL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Tworzenie duszka i poruszanie nim</a:t>
            </a:r>
            <a:r>
              <a:rPr kumimoji="0" lang="pl-PL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w 4 kierunkach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zdrukowanymi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Dodaj nowego duszk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64088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daj nowego duszka z pliku (wybierz plik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Cat.sprite2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j zakładk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Duszek powinien posiadać 1 strój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sz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sunąc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duszk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prite1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klikając na niego i wybierając polecenie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delet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4021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225725" y="1916790"/>
            <a:ext cx="20478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0" name="Straight Arrow Connector 19"/>
          <p:cNvCxnSpPr/>
          <p:nvPr/>
        </p:nvCxnSpPr>
        <p:spPr>
          <a:xfrm flipH="1">
            <a:off x="8836072" y="1268700"/>
            <a:ext cx="5468" cy="64809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022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185310" y="2564880"/>
            <a:ext cx="2192304" cy="1584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24" name="Picture 8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185310" y="4437140"/>
            <a:ext cx="1685925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Straight Arrow Connector 25"/>
          <p:cNvCxnSpPr/>
          <p:nvPr/>
        </p:nvCxnSpPr>
        <p:spPr>
          <a:xfrm flipH="1">
            <a:off x="8121440" y="5589300"/>
            <a:ext cx="1008140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60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Poruszaj duszkiem w 4 kierunk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741703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cznijmy od przesuwania kota w prawo:</a:t>
            </a: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 panel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s</a:t>
            </a:r>
            <a:r>
              <a:rPr lang="pl-PL" sz="2400" b="1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b="1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b="1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panelu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crip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aznacz grup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Even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a następnie przeciągnij blok     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wciśnięto spację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na obszar skryptowy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j na strzałkę obok słowa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ac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wybierz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righ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trzałka w prawo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z listy.</a:t>
            </a:r>
          </a:p>
        </p:txBody>
      </p:sp>
      <p:pic>
        <p:nvPicPr>
          <p:cNvPr id="21504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1390" y="1700760"/>
            <a:ext cx="1440200" cy="98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257320" y="3284980"/>
            <a:ext cx="2096193" cy="792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953000" y="3323515"/>
            <a:ext cx="1656230" cy="465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257320" y="5085230"/>
            <a:ext cx="229674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Poruszaj duszkiem w 4 kierunk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885723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suwanie w prawo (c.d.):</a:t>
            </a: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Motio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Ru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przeciągnij blok                                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wskaż w kierunku 9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oraz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zrób 10 krokó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</a:t>
            </a:r>
          </a:p>
          <a:p>
            <a:pPr marL="639763" lvl="1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łącz razem jak na rysunku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5049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025010" y="2276840"/>
            <a:ext cx="11049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50" name="Picture 10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609230" y="1844780"/>
            <a:ext cx="14859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53" name="Picture 1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8380" y="3068950"/>
            <a:ext cx="5432111" cy="3363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51" name="Picture 11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736970" y="3140960"/>
            <a:ext cx="3744520" cy="148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2700"/>
            <a:bevelB w="127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709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Poruszaj duszkiem w 4 kierunk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864120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wtórz kroki z punktu 1 dla strzałek w górę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up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, w dół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down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i w lewo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ef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arrow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i kierunków odpowiedni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18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-9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2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uszaj kotkiem we wszystkich kierunkach za pomocą strzałek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70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420" y="2780910"/>
            <a:ext cx="8172450" cy="103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200340" y="4985740"/>
            <a:ext cx="5112710" cy="18277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    Jak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usza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ię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ot w różnych kierunkach? Spróbuj zmieniać styl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obracania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rotation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styl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uszka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17093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85060" y="4653170"/>
            <a:ext cx="2560616" cy="1584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753250" y="5085230"/>
            <a:ext cx="2996588" cy="1224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63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</a:t>
            </a:r>
            <a:r>
              <a:rPr lang="pl-PL" dirty="0" smtClean="0"/>
              <a:t>3. Dostosuj wygląd duszka do kierunku ruchu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907326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 panel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s</a:t>
            </a:r>
            <a:endParaRPr lang="pl-PL" sz="2400" dirty="0" smtClean="0">
              <a:solidFill>
                <a:srgbClr val="FF99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anel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a następnie kliknij ikonę folderu ze strzałką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kolejno 3 pozostałe rysunki kota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_right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_left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_back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2630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505385" y="2348850"/>
            <a:ext cx="220027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Straight Arrow Connector 12"/>
          <p:cNvCxnSpPr/>
          <p:nvPr/>
        </p:nvCxnSpPr>
        <p:spPr>
          <a:xfrm>
            <a:off x="3944860" y="2564880"/>
            <a:ext cx="4064595" cy="43206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6308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953000" y="3573020"/>
            <a:ext cx="4623182" cy="2824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73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</a:t>
            </a:r>
            <a:r>
              <a:rPr lang="pl-PL" dirty="0" smtClean="0"/>
              <a:t>3. Dostosuj wygląd duszka do kierunku ruchu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1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907326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zbierz grup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ook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Wygląd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w panelu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crip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endParaRPr lang="pl-PL" sz="2400" b="1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 każdego z 4 skryptów z kroku 2 dodaj blok                    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przełącz strój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bierz stroje tak aby wygląd kota pasował do kierunku ruchu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+mj-lt"/>
              <a:buAutoNum type="arabicPeriod" startAt="4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uszaj kotkiem we wszystkich kierunkach za pomocą strzałek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27332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73350" y="1988800"/>
            <a:ext cx="19431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7334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8431" y="3573020"/>
            <a:ext cx="8353160" cy="1194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6</Words>
  <Application>Microsoft Office PowerPoint</Application>
  <PresentationFormat>A4 Paper (210x297 mm)</PresentationFormat>
  <Paragraphs>73</Paragraphs>
  <Slides>10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Blank</vt:lpstr>
      <vt:lpstr>Closing slides</vt:lpstr>
      <vt:lpstr>Section break</vt:lpstr>
      <vt:lpstr>think-cell Slide</vt:lpstr>
      <vt:lpstr>       Zadanie 1</vt:lpstr>
      <vt:lpstr>Wskazówki</vt:lpstr>
      <vt:lpstr>Krok 1. Dodaj nowego duszka</vt:lpstr>
      <vt:lpstr>Krok 2. Poruszaj duszkiem w 4 kierunkach</vt:lpstr>
      <vt:lpstr>Krok 2. Poruszaj duszkiem w 4 kierunkach</vt:lpstr>
      <vt:lpstr>Krok 2. Poruszaj duszkiem w 4 kierunkach</vt:lpstr>
      <vt:lpstr>Krok 3. Dostosuj wygląd duszka do kierunku ruchu</vt:lpstr>
      <vt:lpstr>Krok 3. Dostosuj wygląd duszka do kierunku ruchu</vt:lpstr>
      <vt:lpstr>Slide 9</vt:lpstr>
      <vt:lpstr>Slide 1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120</cp:revision>
  <dcterms:created xsi:type="dcterms:W3CDTF">2014-10-21T19:55:20Z</dcterms:created>
  <dcterms:modified xsi:type="dcterms:W3CDTF">2014-11-27T22:57:13Z</dcterms:modified>
</cp:coreProperties>
</file>